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60" r:id="rId2"/>
  </p:sldMasterIdLst>
  <p:notesMasterIdLst>
    <p:notesMasterId r:id="rId16"/>
  </p:notesMasterIdLst>
  <p:sldIdLst>
    <p:sldId id="256" r:id="rId3"/>
    <p:sldId id="266" r:id="rId4"/>
    <p:sldId id="270" r:id="rId5"/>
    <p:sldId id="271" r:id="rId6"/>
    <p:sldId id="272" r:id="rId7"/>
    <p:sldId id="273" r:id="rId8"/>
    <p:sldId id="274" r:id="rId9"/>
    <p:sldId id="275" r:id="rId10"/>
    <p:sldId id="276" r:id="rId11"/>
    <p:sldId id="277" r:id="rId12"/>
    <p:sldId id="278" r:id="rId13"/>
    <p:sldId id="279" r:id="rId14"/>
    <p:sldId id="280" r:id="rId15"/>
  </p:sldIdLst>
  <p:sldSz cx="12192000" cy="6858000"/>
  <p:notesSz cx="6858000" cy="9144000"/>
  <p:custDataLst>
    <p:tags r:id="rId1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9" roundtripDataSignature="AMtx7mj6lFpuDE7mVLaFOw4vyhahVBLPb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64E1"/>
    <a:srgbClr val="33A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20"/>
  </p:normalViewPr>
  <p:slideViewPr>
    <p:cSldViewPr snapToGrid="0">
      <p:cViewPr varScale="1">
        <p:scale>
          <a:sx n="65" d="100"/>
          <a:sy n="65" d="100"/>
        </p:scale>
        <p:origin x="282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customschemas.google.com/relationships/presentationmetadata" Target="meta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90510413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2755295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9232646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2273015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8495575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196851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139929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12009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179358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5690337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5060590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3383081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9404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TITL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13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13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" name="Google Shape;14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Титульный слайд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13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13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" name="Google Shape;14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18375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Заголовок и объект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4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271100" cy="54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14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1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05403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Заголовок раздела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5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15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96130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Два объекта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56459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Сравнение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" name="Google Shape;39;p1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" name="Google Shape;41;p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11242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Только заголовок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58349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Пустой слайд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94271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Объект с подписью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2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2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7" name="Google Shape;57;p2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642879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Рисунок с подписью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4" name="Google Shape;64;p2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0687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SECTION_HEADER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5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15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Заголовок и вертикальный текст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608472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Вертикальный заголовок и текст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4739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TWO_OBJECTS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TWO_OBJECTS_WITH_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" name="Google Shape;39;p1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" name="Google Shape;41;p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TITLE_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2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2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7" name="Google Shape;57;p2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4" name="Google Shape;64;p2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1248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Слайд think-cell" r:id="rId14" imgW="592" imgH="595" progId="TCLayout.ActiveDocument.1">
                  <p:embed/>
                </p:oleObj>
              </mc:Choice>
              <mc:Fallback>
                <p:oleObj name="Слайд think-cell" r:id="rId14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4" name="Слайд think-cell" r:id="rId15" imgW="592" imgH="595" progId="TCLayout.ActiveDocument.1">
                  <p:embed/>
                </p:oleObj>
              </mc:Choice>
              <mc:Fallback>
                <p:oleObj name="Слайд think-cell" r:id="rId1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022227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Relationship Id="rId9" Type="http://schemas.openxmlformats.org/officeDocument/2006/relationships/hyperlink" Target="mailto:ano.dobroedelo@yandex.ru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9932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Google Shape;84;p1"/>
          <p:cNvSpPr txBox="1">
            <a:spLocks noGrp="1"/>
          </p:cNvSpPr>
          <p:nvPr>
            <p:ph type="ctrTitle"/>
          </p:nvPr>
        </p:nvSpPr>
        <p:spPr>
          <a:xfrm>
            <a:off x="624840" y="1630680"/>
            <a:ext cx="10834521" cy="3398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8000" i="1" u="sng" dirty="0" smtClean="0">
                <a:solidFill>
                  <a:srgbClr val="0F64E1"/>
                </a:solidFill>
              </a:rPr>
              <a:t>Вы не одиноки </a:t>
            </a:r>
            <a:r>
              <a:rPr lang="ru-RU" sz="4800" i="1" dirty="0" smtClean="0">
                <a:solidFill>
                  <a:srgbClr val="0F64E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br>
              <a:rPr lang="ru-RU" sz="4800" i="1" dirty="0" smtClean="0">
                <a:solidFill>
                  <a:srgbClr val="0F64E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4400" i="1" dirty="0" smtClean="0">
                <a:solidFill>
                  <a:srgbClr val="0F64E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далённый </a:t>
            </a:r>
            <a:r>
              <a:rPr lang="ru-RU" sz="4400" i="1" dirty="0">
                <a:solidFill>
                  <a:srgbClr val="0F64E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нтроль витальных показателей </a:t>
            </a:r>
            <a:r>
              <a:rPr lang="ru-RU" sz="4400" i="1" dirty="0" smtClean="0">
                <a:solidFill>
                  <a:srgbClr val="0F64E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жилых </a:t>
            </a:r>
            <a:r>
              <a:rPr lang="ru-RU" sz="4400" i="1" dirty="0" smtClean="0">
                <a:solidFill>
                  <a:srgbClr val="0F64E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раждан и </a:t>
            </a:r>
            <a:r>
              <a:rPr lang="ru-RU" sz="4400" i="1" dirty="0">
                <a:solidFill>
                  <a:srgbClr val="0F64E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валидов</a:t>
            </a:r>
            <a:endParaRPr sz="4400" i="1" cap="all" dirty="0">
              <a:solidFill>
                <a:srgbClr val="0F64E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roy Light"/>
              <a:ea typeface="Gilroy Light"/>
              <a:cs typeface="Gilroy Light"/>
            </a:endParaRPr>
          </a:p>
        </p:txBody>
      </p:sp>
      <p:pic>
        <p:nvPicPr>
          <p:cNvPr id="7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105023" y="889971"/>
            <a:ext cx="3717608" cy="1417573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38658" y="254465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Изображение" descr="Изображение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2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Стоимость проекта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lnSpcReduction="10000"/>
          </a:bodyPr>
          <a:lstStyle/>
          <a:p>
            <a:pPr marL="571500" indent="-457200">
              <a:buAutoNum type="arabicPeriod"/>
            </a:pP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упка часов 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зопасности </a:t>
            </a:r>
            <a:r>
              <a:rPr lang="ru-RU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ldmen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R25 - SOS, GPS, звонки, давление, пульс, кислород, температура, индикатор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дения 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 </a:t>
            </a:r>
            <a:r>
              <a:rPr lang="ru-RU" sz="24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получателей</a:t>
            </a: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5000,00 рублей</a:t>
            </a:r>
          </a:p>
          <a:p>
            <a:pPr marL="571500" indent="-457200">
              <a:buAutoNum type="arabicPeriod"/>
            </a:pP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ение 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наблюдателей» (5 человек) и </a:t>
            </a:r>
            <a:r>
              <a:rPr lang="ru-RU" sz="24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получателей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10 человек) пользованию часами в индивидуальном порядке, </a:t>
            </a: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стройка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арт браслетов и смартфона "наблюдателя"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оплата услуг консультанта) – </a:t>
            </a: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000,00 рублей</a:t>
            </a:r>
          </a:p>
          <a:p>
            <a:pPr marL="571500" indent="-457200">
              <a:buAutoNum type="arabicPeriod"/>
            </a:pP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сультационное 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техническое) сопровождение "наблюдателей" в течение двух 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яцев – </a:t>
            </a: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000,00 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</a:t>
            </a:r>
            <a:endParaRPr lang="ru-RU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71500" indent="-457200">
              <a:buAutoNum type="arabicPeriod"/>
            </a:pP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лата труда штатных сотрудников в пределах фонда оплаты труда Организации – дополнительных затрат не требуется</a:t>
            </a:r>
          </a:p>
          <a:p>
            <a:pPr marL="114300" indent="0">
              <a:buNone/>
            </a:pP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ого</a:t>
            </a: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9 000</a:t>
            </a: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00 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  <a:sym typeface="Gilroy Light"/>
              </a:rPr>
              <a:t>Предварительная стоимостная оценка реализации идеи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7963081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Ресурсное обеспечение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000" dirty="0" smtClean="0">
                <a:solidFill>
                  <a:srgbClr val="434343"/>
                </a:solidFill>
              </a:rPr>
              <a:t>Команда, способная реализовать данный </a:t>
            </a:r>
            <a:r>
              <a:rPr lang="ru-RU" sz="2000" dirty="0" smtClean="0">
                <a:solidFill>
                  <a:srgbClr val="434343"/>
                </a:solidFill>
              </a:rPr>
              <a:t>проект </a:t>
            </a:r>
            <a:endParaRPr lang="ru-RU" sz="2000" dirty="0" smtClean="0">
              <a:solidFill>
                <a:srgbClr val="434343"/>
              </a:solidFill>
            </a:endParaRP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000" dirty="0" smtClean="0">
                <a:solidFill>
                  <a:srgbClr val="434343"/>
                </a:solidFill>
              </a:rPr>
              <a:t>Медицинская организация, готовая оказать консультационные услуги по мониторингу витальных показателей</a:t>
            </a: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000" dirty="0" err="1" smtClean="0">
                <a:solidFill>
                  <a:srgbClr val="434343"/>
                </a:solidFill>
              </a:rPr>
              <a:t>Благополучатели</a:t>
            </a:r>
            <a:r>
              <a:rPr lang="ru-RU" sz="2000" dirty="0" smtClean="0">
                <a:solidFill>
                  <a:srgbClr val="434343"/>
                </a:solidFill>
              </a:rPr>
              <a:t>, готовые оплачивать услуги сотового </a:t>
            </a:r>
            <a:r>
              <a:rPr lang="ru-RU" sz="2000" dirty="0" smtClean="0">
                <a:solidFill>
                  <a:srgbClr val="434343"/>
                </a:solidFill>
              </a:rPr>
              <a:t>оператора</a:t>
            </a: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000" dirty="0" smtClean="0">
                <a:solidFill>
                  <a:srgbClr val="434343"/>
                </a:solidFill>
              </a:rPr>
              <a:t>Команда «наблюдателей» – социальные работники</a:t>
            </a:r>
            <a:endParaRPr lang="ru-RU" sz="2000" dirty="0" smtClean="0">
              <a:solidFill>
                <a:srgbClr val="434343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  <a:sym typeface="Gilroy Light"/>
              </a:rPr>
              <a:t>Инфраструктура, источники финансирования, наличие команды и т. д.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7867942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РИСКИ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  <a:sym typeface="Gilroy Light"/>
              </a:rPr>
              <a:t>Перечень ключевых рисков для реализации проекта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9F9D3DED-6EF4-B558-2508-4D8022B2CD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3060449"/>
              </p:ext>
            </p:extLst>
          </p:nvPr>
        </p:nvGraphicFramePr>
        <p:xfrm>
          <a:off x="336000" y="1391675"/>
          <a:ext cx="11520000" cy="4854684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5909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674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8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580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235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04844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0"/>
                        <a:buFont typeface="Arial"/>
                        <a:buNone/>
                      </a:pPr>
                      <a:r>
                        <a:rPr lang="ru-RU" sz="1400" b="0" i="0" u="none" strike="noStrike" cap="none" dirty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№</a:t>
                      </a:r>
                    </a:p>
                  </a:txBody>
                  <a:tcPr anchor="ctr"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6000"/>
                        <a:buFont typeface="Arial"/>
                        <a:buNone/>
                      </a:pPr>
                      <a:r>
                        <a:rPr lang="ru-RU" sz="1400" b="0" i="0" u="none" strike="noStrike" cap="none" dirty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Название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Уровень </a:t>
                      </a:r>
                      <a:r>
                        <a:rPr lang="ru-RU" sz="1400" b="0" i="0" u="none" strike="noStrike" cap="none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(низкий/высокий/средний)  </a:t>
                      </a:r>
                      <a:endParaRPr lang="ru-RU" sz="1400" b="0" i="0" u="none" strike="noStrike" cap="none" dirty="0">
                        <a:solidFill>
                          <a:srgbClr val="000000"/>
                        </a:solidFill>
                        <a:latin typeface="Gilroy Light"/>
                        <a:ea typeface="Gilroy Light"/>
                        <a:cs typeface="Gilroy Light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Тип риска (внутренний/ внешний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Действия по предотвращению рисков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39384"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1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Уход</a:t>
                      </a:r>
                      <a:r>
                        <a:rPr lang="ru-RU" sz="1600" b="1" i="0" u="none" strike="noStrike" cap="none" baseline="0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 с Российского рынка производителей смарт-часов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средний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внешний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Разработка</a:t>
                      </a:r>
                      <a:r>
                        <a:rPr lang="ru-RU" sz="1600" b="1" i="0" u="none" strike="noStrike" cap="none" baseline="0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 собственного ПО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01811"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2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Отсутствие знаний</a:t>
                      </a:r>
                      <a:r>
                        <a:rPr lang="ru-RU" sz="1600" b="1" i="0" u="none" strike="noStrike" cap="none" baseline="0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 в использовании смарт-часов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средний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внутренний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Обучение сотрудников 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01811"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3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Отсутствие устойчивого</a:t>
                      </a:r>
                      <a:r>
                        <a:rPr lang="ru-RU" sz="1600" b="1" i="0" u="none" strike="noStrike" cap="none" baseline="0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 интернет соединения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средний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внешний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Поиск другого сотового оператора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23804"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4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Отсутствие</a:t>
                      </a:r>
                      <a:r>
                        <a:rPr lang="ru-RU" sz="1600" b="1" i="0" u="none" strike="noStrike" cap="none" baseline="0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 поддержки со стороны бюджета в форме субсидий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высокий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внешний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Поиск альтернативных источников дохода (</a:t>
                      </a:r>
                      <a:r>
                        <a:rPr lang="ru-RU" sz="1600" b="1" i="0" u="none" strike="noStrike" cap="none" dirty="0" err="1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Грантовые</a:t>
                      </a:r>
                      <a:r>
                        <a:rPr lang="ru-RU" sz="1600" b="1" i="0" u="none" strike="noStrike" cap="none" dirty="0" smtClean="0">
                          <a:solidFill>
                            <a:srgbClr val="0F64E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  <a:sym typeface="Arial"/>
                        </a:rPr>
                        <a:t> Конкурсы, социальные инвесторы, разработчики смарт-часов)</a:t>
                      </a:r>
                      <a:endParaRPr lang="ru-RU" sz="1600" b="1" i="0" u="none" strike="noStrike" cap="none" dirty="0">
                        <a:solidFill>
                          <a:srgbClr val="0F64E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54205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1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ЗАПРОС НА ПОДДЕРЖКУ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199" y="1574240"/>
            <a:ext cx="10948801" cy="4602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400" dirty="0">
              <a:solidFill>
                <a:srgbClr val="434343"/>
              </a:solidFill>
              <a:sym typeface="Arial"/>
            </a:endParaRP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400" dirty="0" smtClean="0">
                <a:solidFill>
                  <a:srgbClr val="434343"/>
                </a:solidFill>
              </a:rPr>
              <a:t>Помощь в разработке заявки на </a:t>
            </a:r>
            <a:r>
              <a:rPr lang="ru-RU" sz="2400" dirty="0" err="1" smtClean="0">
                <a:solidFill>
                  <a:srgbClr val="434343"/>
                </a:solidFill>
              </a:rPr>
              <a:t>Грантовые</a:t>
            </a:r>
            <a:r>
              <a:rPr lang="ru-RU" sz="2400" dirty="0" smtClean="0">
                <a:solidFill>
                  <a:srgbClr val="434343"/>
                </a:solidFill>
              </a:rPr>
              <a:t> Конкурсы</a:t>
            </a: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400" dirty="0" smtClean="0">
                <a:solidFill>
                  <a:srgbClr val="434343"/>
                </a:solidFill>
              </a:rPr>
              <a:t>Презентация проекта перед </a:t>
            </a:r>
            <a:r>
              <a:rPr lang="ru-RU" sz="2400" dirty="0" err="1" smtClean="0">
                <a:solidFill>
                  <a:srgbClr val="434343"/>
                </a:solidFill>
              </a:rPr>
              <a:t>стейкхолдерами</a:t>
            </a:r>
            <a:r>
              <a:rPr lang="ru-RU" sz="2400" dirty="0" smtClean="0">
                <a:solidFill>
                  <a:srgbClr val="434343"/>
                </a:solidFill>
              </a:rPr>
              <a:t> </a:t>
            </a: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400" dirty="0" smtClean="0">
                <a:solidFill>
                  <a:srgbClr val="434343"/>
                </a:solidFill>
              </a:rPr>
              <a:t>Финансовая </a:t>
            </a:r>
            <a:r>
              <a:rPr lang="ru-RU" sz="2400" dirty="0" smtClean="0">
                <a:solidFill>
                  <a:srgbClr val="434343"/>
                </a:solidFill>
              </a:rPr>
              <a:t>поддержка со стороны социальных инвесторов и государства в рамках развития программы «Старшее поколение»</a:t>
            </a:r>
            <a:endParaRPr sz="24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  <a:sym typeface="Gilroy Light"/>
              </a:rPr>
              <a:t>Призыв к действию и/или краткая формулировка главного запроса на содействие и поддержку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468BC3AD-6366-A09A-F619-CAF685154A46}"/>
              </a:ext>
            </a:extLst>
          </p:cNvPr>
          <p:cNvSpPr txBox="1"/>
          <p:nvPr/>
        </p:nvSpPr>
        <p:spPr>
          <a:xfrm>
            <a:off x="7218492" y="4178377"/>
            <a:ext cx="456850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dirty="0">
                <a:solidFill>
                  <a:srgbClr val="0F64E1"/>
                </a:solidFill>
                <a:latin typeface="Gilroy Light"/>
                <a:ea typeface="Gilroy Light"/>
                <a:cs typeface="Gilroy Light"/>
                <a:sym typeface="Gilroy Light"/>
              </a:rPr>
              <a:t>Контакты</a:t>
            </a:r>
            <a:r>
              <a:rPr lang="ru-RU" sz="1600" b="1" dirty="0">
                <a:solidFill>
                  <a:srgbClr val="33A1D8"/>
                </a:solidFill>
                <a:latin typeface="Gilroy Light"/>
                <a:ea typeface="Gilroy Light"/>
                <a:cs typeface="Gilroy Light"/>
                <a:sym typeface="Gilroy Light"/>
              </a:rPr>
              <a:t>: </a:t>
            </a:r>
          </a:p>
          <a:p>
            <a:pPr algn="r"/>
            <a:r>
              <a:rPr lang="ru-RU" sz="1600" b="1" i="1" dirty="0" smtClean="0">
                <a:latin typeface="Gilroy Light"/>
                <a:ea typeface="Gilroy Light"/>
                <a:cs typeface="Gilroy Light"/>
                <a:sym typeface="Gilroy Light"/>
              </a:rPr>
              <a:t>АНО СОГ «Доброе дело»</a:t>
            </a:r>
          </a:p>
          <a:p>
            <a:pPr algn="r"/>
            <a:r>
              <a:rPr lang="ru-RU" sz="1600" dirty="0" smtClean="0">
                <a:latin typeface="Gilroy Light"/>
                <a:ea typeface="Gilroy Light"/>
                <a:cs typeface="Gilroy Light"/>
                <a:sym typeface="Gilroy Light"/>
              </a:rPr>
              <a:t>Республика Мордовия, Ромодановский р-н</a:t>
            </a:r>
          </a:p>
          <a:p>
            <a:pPr algn="r"/>
            <a:r>
              <a:rPr lang="ru-RU" sz="1600" dirty="0" err="1" smtClean="0">
                <a:latin typeface="Gilroy Light"/>
                <a:ea typeface="Gilroy Light"/>
                <a:cs typeface="Gilroy Light"/>
                <a:sym typeface="Gilroy Light"/>
              </a:rPr>
              <a:t>п.Ромоданово</a:t>
            </a:r>
            <a:r>
              <a:rPr lang="ru-RU" sz="1600" dirty="0" smtClean="0">
                <a:latin typeface="Gilroy Light"/>
                <a:ea typeface="Gilroy Light"/>
                <a:cs typeface="Gilroy Light"/>
                <a:sym typeface="Gilroy Light"/>
              </a:rPr>
              <a:t>, </a:t>
            </a:r>
            <a:r>
              <a:rPr lang="ru-RU" sz="1600" dirty="0" err="1" smtClean="0">
                <a:latin typeface="Gilroy Light"/>
                <a:ea typeface="Gilroy Light"/>
                <a:cs typeface="Gilroy Light"/>
                <a:sym typeface="Gilroy Light"/>
              </a:rPr>
              <a:t>ул.Центральная</a:t>
            </a:r>
            <a:r>
              <a:rPr lang="ru-RU" sz="1600" dirty="0" smtClean="0">
                <a:latin typeface="Gilroy Light"/>
                <a:ea typeface="Gilroy Light"/>
                <a:cs typeface="Gilroy Light"/>
                <a:sym typeface="Gilroy Light"/>
              </a:rPr>
              <a:t>, д.5</a:t>
            </a:r>
          </a:p>
          <a:p>
            <a:pPr algn="r"/>
            <a:r>
              <a:rPr lang="en-US" sz="1600" b="1" dirty="0" smtClean="0">
                <a:solidFill>
                  <a:srgbClr val="0F64E1"/>
                </a:solidFill>
                <a:latin typeface="Gilroy Light"/>
                <a:ea typeface="Gilroy Light"/>
                <a:cs typeface="Gilroy Light"/>
                <a:sym typeface="Gilroy Light"/>
                <a:hlinkClick r:id="rId9"/>
              </a:rPr>
              <a:t>ano.dobroedelo@yandex.ru</a:t>
            </a:r>
            <a:endParaRPr lang="en-US" sz="1600" b="1" dirty="0" smtClean="0">
              <a:solidFill>
                <a:srgbClr val="0F64E1"/>
              </a:solidFill>
              <a:latin typeface="Gilroy Light"/>
              <a:ea typeface="Gilroy Light"/>
              <a:cs typeface="Gilroy Light"/>
              <a:sym typeface="Gilroy Light"/>
            </a:endParaRPr>
          </a:p>
          <a:p>
            <a:pPr algn="r"/>
            <a:r>
              <a:rPr lang="en-US" sz="1600" dirty="0" smtClean="0">
                <a:latin typeface="Gilroy Light"/>
                <a:ea typeface="Gilroy Light"/>
                <a:cs typeface="Gilroy Light"/>
                <a:sym typeface="Gilroy Light"/>
              </a:rPr>
              <a:t>8(958)5523018</a:t>
            </a:r>
          </a:p>
          <a:p>
            <a:pPr algn="r"/>
            <a:r>
              <a:rPr lang="en-US" sz="1600" dirty="0">
                <a:latin typeface="Gilroy Light"/>
                <a:ea typeface="Gilroy Light"/>
                <a:cs typeface="Gilroy Light"/>
                <a:sym typeface="Gilroy Light"/>
              </a:rPr>
              <a:t>https://vk.com/anosog</a:t>
            </a:r>
            <a:endParaRPr lang="ru-RU" sz="1600" dirty="0">
              <a:latin typeface="Gilroy Light"/>
              <a:ea typeface="Gilroy Light"/>
              <a:cs typeface="Gilroy Light"/>
              <a:sym typeface="Gilroy Light"/>
            </a:endParaRPr>
          </a:p>
        </p:txBody>
      </p:sp>
    </p:spTree>
    <p:extLst>
      <p:ext uri="{BB962C8B-B14F-4D97-AF65-F5344CB8AC3E}">
        <p14:creationId xmlns:p14="http://schemas.microsoft.com/office/powerpoint/2010/main" val="2197977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584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1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Команда проекта 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418800"/>
            <a:ext cx="10515600" cy="4758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14300" indent="0">
              <a:buNone/>
            </a:pPr>
            <a:r>
              <a:rPr lang="ru-RU" sz="1600" b="1" u="sng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ициатор идеи – </a:t>
            </a:r>
            <a:r>
              <a:rPr lang="ru-RU" sz="1600" b="1" u="sng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уйнова</a:t>
            </a:r>
            <a:r>
              <a:rPr lang="ru-RU" sz="1600" b="1" u="sng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льга Михайловна</a:t>
            </a:r>
            <a:r>
              <a:rPr lang="ru-RU" sz="14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общее руководство проектом, межведомственное взаимодействие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АНО СОГ «Доброе дело»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р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6 благотворительных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, поддержанных различными Фондами и реализованными сотрудниками АНО СОГ Доброе дело Ромодановского р-на Республики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рдовия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 лет работы в социальной сфере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лен Комиссии по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хране здоровья граждан, физической культуре и популяризации здорового образа жизни, доступной среде и развитию инклюзивных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ктик Общественной палаты Республики Мордовия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бедитель Кадрового Конкурса «Моя Мордовия» 2021г.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</a:pPr>
            <a:r>
              <a:rPr lang="ru-RU" sz="1600" b="1" u="sng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астник проекта – Рябинина Наталья Петровна</a:t>
            </a:r>
            <a:r>
              <a:rPr lang="ru-RU" sz="1400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координирует работу «наблюдателей» – социальных работников</a:t>
            </a:r>
          </a:p>
          <a:p>
            <a:pPr marL="285750" indent="-285750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делом АНО СОГ «Доброе дело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 marL="285750" indent="-285750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ыт реализации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 благотворительных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 в качестве координатора мероприятий</a:t>
            </a:r>
          </a:p>
          <a:p>
            <a:pPr marL="285750" indent="-285750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т работы в социальной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фере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</a:pPr>
            <a:r>
              <a:rPr lang="ru-RU" sz="1600" b="1" u="sng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астник проекта – </a:t>
            </a:r>
            <a:r>
              <a:rPr lang="ru-RU" sz="1600" b="1" u="sng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уйнов</a:t>
            </a:r>
            <a:r>
              <a:rPr lang="ru-RU" sz="1600" b="1" u="sng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u="sng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вений</a:t>
            </a:r>
            <a:r>
              <a:rPr lang="ru-RU" sz="1600" b="1" u="sng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икторович</a:t>
            </a: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Настройка ПО смартфона «наблюдателя» и «подопечного»</a:t>
            </a:r>
            <a:r>
              <a:rPr lang="en-US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бучение работы с приложением сотрудников и подопечных</a:t>
            </a:r>
          </a:p>
          <a:p>
            <a:pPr marL="285750" indent="-285750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подаватель английского языка</a:t>
            </a:r>
          </a:p>
          <a:p>
            <a:pPr marL="285750" indent="-285750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зация по сопровождению баз данных, лингвистика (английский и немецкий языки)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</a:pP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16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800" dirty="0">
                <a:latin typeface="Gilroy Light"/>
                <a:ea typeface="Gilroy Light"/>
                <a:cs typeface="Gilroy Light"/>
              </a:rPr>
              <a:t>Инициатор идеи, ключевые участники проекта, зоны ответственности и опыт</a:t>
            </a:r>
            <a:r>
              <a:rPr lang="en-US" sz="1800" dirty="0">
                <a:latin typeface="Gilroy Light"/>
                <a:ea typeface="Gilroy Light"/>
                <a:cs typeface="Gilroy Light"/>
              </a:rPr>
              <a:t> </a:t>
            </a:r>
            <a:r>
              <a:rPr lang="ru-RU" sz="1800" dirty="0">
                <a:latin typeface="Gilroy Light"/>
                <a:ea typeface="Gilroy Light"/>
                <a:cs typeface="Gilroy Light"/>
              </a:rPr>
              <a:t>участников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523657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Проблема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686860"/>
            <a:ext cx="10680290" cy="4491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514350" lvl="0" indent="-51435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AutoNum type="arabicPeriod"/>
            </a:pP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своевременность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казания первой доврачебной помощи при инсульте, инфаркте одиноким и </a:t>
            </a:r>
            <a:r>
              <a:rPr lang="ru-RU" sz="20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инокопроживающим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ражданам пожилого возраста и инвалидам в отдаленных населенных пунктах, приводит к тяжелым формам </a:t>
            </a:r>
            <a:r>
              <a:rPr lang="ru-RU" sz="20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валидизации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селения</a:t>
            </a:r>
          </a:p>
          <a:p>
            <a:pPr lvl="0" indent="-457200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AutoNum type="arabicPeriod"/>
            </a:pPr>
            <a:r>
              <a:rPr lang="ru-RU" sz="24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иск пропавших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жилых граждан, страдающих тяжелыми формами когнитивных нарушений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ругими нарушениями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зговой деятельности свойственные пожилым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юдям и их поиск требует больших ресурсов, как человеческих так и финансовых.</a:t>
            </a:r>
          </a:p>
          <a:p>
            <a:pPr marL="0" lvl="0" indent="0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</a:pPr>
            <a:endParaRPr lang="ru-RU" sz="20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</a:pPr>
            <a:r>
              <a:rPr lang="ru-RU" sz="2000" b="1" u="sng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сштаб проблемы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характерны прежде всего для </a:t>
            </a:r>
            <a:r>
              <a:rPr lang="ru-RU" sz="2000" b="1" u="sng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аленных сельских поселений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но и актуальны и для районных центров и больших городов.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</a:rPr>
              <a:t>Какую проблему решает проект? В чем ее актуальность? Каков масштаб проблемы?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670959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179615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Цель проекта 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algn="just"/>
            <a:r>
              <a:rPr lang="ru-RU" sz="2400" dirty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условий для предотвращения тяжелых последствий таких заболеваний как инсульт или инфаркт у одиноких и </a:t>
            </a:r>
            <a:r>
              <a:rPr lang="ru-RU" sz="2400" dirty="0" err="1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инокопроживающих</a:t>
            </a:r>
            <a:r>
              <a:rPr lang="ru-RU" sz="2400" dirty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жилых граждан через своевременность получения информации о критических ситуациях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</a:rPr>
              <a:t>Какое желаемое состояние мы планируем достичь реализацией проекта? 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612136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Суть проекта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r>
              <a:rPr lang="ru-RU" sz="2000" dirty="0">
                <a:solidFill>
                  <a:srgbClr val="282828"/>
                </a:solidFill>
                <a:latin typeface="PT Sans"/>
              </a:rPr>
              <a:t>Суть проекта предоставить для одиноких пожилых людей услугу постоянного наблюдения витальных показателей через "умные браслеты", которые будут передавать "наблюдателю" информацию о критичной </a:t>
            </a:r>
            <a:r>
              <a:rPr lang="ru-RU" sz="2000" dirty="0" smtClean="0">
                <a:solidFill>
                  <a:srgbClr val="282828"/>
                </a:solidFill>
                <a:latin typeface="PT Sans"/>
              </a:rPr>
              <a:t>ситуации (гипертонический криз, падение, недостаток кислорода и т.д.)</a:t>
            </a:r>
            <a:endParaRPr lang="ru-RU" sz="2000" dirty="0" smtClean="0">
              <a:solidFill>
                <a:srgbClr val="282828"/>
              </a:solidFill>
              <a:latin typeface="PT Sans"/>
            </a:endParaRPr>
          </a:p>
          <a:p>
            <a:r>
              <a:rPr lang="ru-RU" sz="2000" dirty="0" smtClean="0">
                <a:solidFill>
                  <a:srgbClr val="282828"/>
                </a:solidFill>
                <a:latin typeface="PT Sans"/>
              </a:rPr>
              <a:t>В </a:t>
            </a:r>
            <a:r>
              <a:rPr lang="ru-RU" sz="2000" dirty="0">
                <a:solidFill>
                  <a:srgbClr val="282828"/>
                </a:solidFill>
                <a:latin typeface="PT Sans"/>
              </a:rPr>
              <a:t>качестве "наблюдателя" выступают социальные работники на обслуживании у которых есть одинокие и </a:t>
            </a:r>
            <a:r>
              <a:rPr lang="ru-RU" sz="2000" dirty="0" err="1">
                <a:solidFill>
                  <a:srgbClr val="282828"/>
                </a:solidFill>
                <a:latin typeface="PT Sans"/>
              </a:rPr>
              <a:t>одинокопроживающие</a:t>
            </a:r>
            <a:r>
              <a:rPr lang="ru-RU" sz="2000" dirty="0">
                <a:solidFill>
                  <a:srgbClr val="282828"/>
                </a:solidFill>
                <a:latin typeface="PT Sans"/>
              </a:rPr>
              <a:t> пожилые граждане или </a:t>
            </a:r>
            <a:r>
              <a:rPr lang="ru-RU" sz="2000" dirty="0" smtClean="0">
                <a:solidFill>
                  <a:srgbClr val="282828"/>
                </a:solidFill>
                <a:latin typeface="PT Sans"/>
              </a:rPr>
              <a:t>инвалиды</a:t>
            </a:r>
          </a:p>
          <a:p>
            <a:r>
              <a:rPr lang="ru-RU" sz="2000" dirty="0" smtClean="0">
                <a:solidFill>
                  <a:srgbClr val="282828"/>
                </a:solidFill>
                <a:latin typeface="PT Sans"/>
              </a:rPr>
              <a:t>Смарт-браслеты предоставляются в долгосрочную аренду через пункты проката ТСР на бесплатной основе целевой группе проекта</a:t>
            </a:r>
          </a:p>
          <a:p>
            <a:r>
              <a:rPr lang="ru-RU" sz="2000" dirty="0" err="1" smtClean="0">
                <a:solidFill>
                  <a:srgbClr val="282828"/>
                </a:solidFill>
                <a:latin typeface="PT Sans"/>
              </a:rPr>
              <a:t>Благополучатели</a:t>
            </a:r>
            <a:r>
              <a:rPr lang="ru-RU" sz="2000" dirty="0" smtClean="0">
                <a:solidFill>
                  <a:srgbClr val="282828"/>
                </a:solidFill>
                <a:latin typeface="PT Sans"/>
              </a:rPr>
              <a:t> проекта оплачивают стоимость тарифа для умных устройств за счет собственных средств.</a:t>
            </a:r>
            <a:endParaRPr lang="ru-RU" sz="2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  <a:sym typeface="Gilroy Light"/>
              </a:rPr>
              <a:t>Краткое описание предлагаемого решения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7902627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Целевая аудитория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34290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Tx/>
              <a:buChar char="-"/>
            </a:pPr>
            <a:r>
              <a:rPr lang="ru-RU" sz="2400" dirty="0" smtClean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инокие </a:t>
            </a:r>
            <a:r>
              <a:rPr lang="ru-RU" sz="2400" dirty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2400" dirty="0" err="1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инокопроживающие</a:t>
            </a:r>
            <a:r>
              <a:rPr lang="ru-RU" sz="2400" dirty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раждане 55</a:t>
            </a:r>
            <a:r>
              <a:rPr lang="ru-RU" sz="2400" dirty="0" smtClean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+, признанные нуждающимися в социальном обслуживании на дому и проживающие в удалённых населённых пунктах</a:t>
            </a:r>
          </a:p>
          <a:p>
            <a:pPr marL="0" indent="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</a:pPr>
            <a:endParaRPr lang="ru-RU" sz="2400" dirty="0" smtClean="0">
              <a:solidFill>
                <a:srgbClr val="28282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Tx/>
              <a:buChar char="-"/>
            </a:pPr>
            <a:r>
              <a:rPr lang="ru-RU" sz="2400" dirty="0" smtClean="0">
                <a:solidFill>
                  <a:srgbClr val="434343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инвалиды</a:t>
            </a:r>
            <a:r>
              <a:rPr lang="ru-RU" sz="2400" dirty="0" smtClean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400" dirty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знанные нуждающимися в социальном обслуживании на </a:t>
            </a:r>
            <a:r>
              <a:rPr lang="ru-RU" sz="2400" dirty="0" smtClean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му </a:t>
            </a:r>
            <a:r>
              <a:rPr lang="ru-RU" sz="2400" dirty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проживающие в удалённых населённых </a:t>
            </a:r>
            <a:r>
              <a:rPr lang="ru-RU" sz="2400" dirty="0" smtClean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нктах</a:t>
            </a:r>
          </a:p>
          <a:p>
            <a:pPr marL="34290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Tx/>
              <a:buChar char="-"/>
            </a:pPr>
            <a:endParaRPr lang="ru-RU" sz="2400" dirty="0">
              <a:solidFill>
                <a:srgbClr val="28282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Tx/>
              <a:buChar char="-"/>
            </a:pPr>
            <a:endParaRPr lang="ru-RU" sz="2000" dirty="0" smtClean="0">
              <a:solidFill>
                <a:srgbClr val="28282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</a:pPr>
            <a:r>
              <a:rPr lang="en-US" sz="2000" dirty="0" smtClean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.S.</a:t>
            </a:r>
            <a:r>
              <a:rPr lang="ru-RU" sz="2000" dirty="0" smtClean="0">
                <a:solidFill>
                  <a:srgbClr val="2828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хождение населённого пункта на расстоянии более 8 км от лечебной организации</a:t>
            </a:r>
            <a:endParaRPr lang="ru-RU" sz="2000" dirty="0">
              <a:solidFill>
                <a:srgbClr val="28282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</a:pPr>
            <a:endParaRPr lang="ru-RU" sz="2400" dirty="0">
              <a:solidFill>
                <a:srgbClr val="28282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  <a:sym typeface="Gilroy Light"/>
              </a:rPr>
              <a:t>Ключевые параметры, сегменты и специфические черты каждого сегмента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2567389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9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Стейкхолдеры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400" dirty="0">
              <a:solidFill>
                <a:srgbClr val="434343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400" dirty="0" smtClean="0">
                <a:solidFill>
                  <a:srgbClr val="4343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о здравоохранения</a:t>
            </a: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400" dirty="0" smtClean="0">
                <a:solidFill>
                  <a:srgbClr val="4343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о социальной защиты</a:t>
            </a: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400" dirty="0" smtClean="0">
                <a:solidFill>
                  <a:srgbClr val="4343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чики программного обеспечения для смарт-браслетов</a:t>
            </a: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400" dirty="0" smtClean="0">
                <a:solidFill>
                  <a:srgbClr val="4343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изводители смарт-браслетов</a:t>
            </a: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400" dirty="0" smtClean="0">
                <a:solidFill>
                  <a:srgbClr val="4343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ераторы сотовой связи</a:t>
            </a: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400" dirty="0" smtClean="0">
                <a:solidFill>
                  <a:srgbClr val="4343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дственники пожилых граждан и инвалидов</a:t>
            </a:r>
          </a:p>
          <a:p>
            <a:pPr marL="342900" lvl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Char char="-"/>
            </a:pPr>
            <a:r>
              <a:rPr lang="ru-RU" sz="2400" dirty="0" smtClean="0">
                <a:solidFill>
                  <a:srgbClr val="4343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дители, имеющие малолетних </a:t>
            </a:r>
            <a:r>
              <a:rPr lang="ru-RU" sz="2400" dirty="0" smtClean="0">
                <a:solidFill>
                  <a:srgbClr val="4343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ей-инвалидов</a:t>
            </a:r>
            <a:endParaRPr sz="2400" dirty="0">
              <a:solidFill>
                <a:srgbClr val="43434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  <a:sym typeface="Gilroy Light"/>
              </a:rPr>
              <a:t>На кого еще повлияет проект? Кто в нем заинтересован или может оказать поддержку?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288144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2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Текущая стадия проекта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just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838200" y="1824041"/>
            <a:ext cx="95904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4000" dirty="0" smtClean="0">
                <a:latin typeface="Times New Roman" panose="02020603050405020304" pitchFamily="18" charset="0"/>
                <a:ea typeface="Gilroy Light"/>
                <a:cs typeface="Times New Roman" panose="02020603050405020304" pitchFamily="18" charset="0"/>
                <a:sym typeface="Gilroy Light"/>
              </a:rPr>
              <a:t> Идея</a:t>
            </a:r>
            <a:endParaRPr lang="ru-RU" sz="4000" dirty="0">
              <a:latin typeface="Times New Roman" panose="02020603050405020304" pitchFamily="18" charset="0"/>
              <a:ea typeface="Gilroy Light"/>
              <a:cs typeface="Times New Roman" panose="02020603050405020304" pitchFamily="18" charset="0"/>
              <a:sym typeface="Gilroy Light"/>
            </a:endParaRP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6003792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9" name="Слайд think-cell" r:id="rId5" imgW="592" imgH="595" progId="TCLayout.ActiveDocument.1">
                  <p:embed/>
                </p:oleObj>
              </mc:Choice>
              <mc:Fallback>
                <p:oleObj name="Слайд think-cell" r:id="rId5" imgW="592" imgH="595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36000" y="451782"/>
            <a:ext cx="10151415" cy="7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 defTabSz="1161825" hangingPunct="0">
              <a:lnSpc>
                <a:spcPct val="100000"/>
              </a:lnSpc>
              <a:buClrTx/>
              <a:buSzTx/>
            </a:pPr>
            <a:r>
              <a:rPr lang="ru-RU" sz="48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План реализации проекта</a:t>
            </a:r>
            <a:endParaRPr sz="4800" b="1" cap="all" dirty="0">
              <a:solidFill>
                <a:srgbClr val="0F64E1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None/>
            </a:pPr>
            <a:endParaRPr sz="2000" dirty="0">
              <a:solidFill>
                <a:srgbClr val="43434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34FF10-9242-0741-9A61-11AEF4B50391}"/>
              </a:ext>
            </a:extLst>
          </p:cNvPr>
          <p:cNvSpPr txBox="1"/>
          <p:nvPr/>
        </p:nvSpPr>
        <p:spPr>
          <a:xfrm>
            <a:off x="336000" y="1053325"/>
            <a:ext cx="100926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>
                <a:latin typeface="Gilroy Light"/>
                <a:ea typeface="Gilroy Light"/>
                <a:cs typeface="Gilroy Light"/>
                <a:sym typeface="Gilroy Light"/>
              </a:rPr>
              <a:t>Основные этапы и контрольные точки, ведущие к промежуточным и конечным результатам</a:t>
            </a:r>
          </a:p>
        </p:txBody>
      </p:sp>
      <p:pic>
        <p:nvPicPr>
          <p:cNvPr id="8" name="Изображение" descr="Изображение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9776" y="424656"/>
            <a:ext cx="2046224" cy="7802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Изображение" descr="Изображение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4999" y="6178409"/>
            <a:ext cx="3445106" cy="47239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Google Shape;300;p21"/>
          <p:cNvSpPr txBox="1"/>
          <p:nvPr/>
        </p:nvSpPr>
        <p:spPr>
          <a:xfrm>
            <a:off x="4611393" y="6363591"/>
            <a:ext cx="3425702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1800">
                <a:solidFill>
                  <a:schemeClr val="accent2">
                    <a:lumOff val="21764"/>
                  </a:schemeClr>
                </a:solidFill>
                <a:latin typeface="Gilroy Light"/>
                <a:ea typeface="Gilroy Light"/>
                <a:cs typeface="Gilroy Light"/>
                <a:sym typeface="Gilroy Light"/>
              </a:defRPr>
            </a:lvl1pPr>
          </a:lstStyle>
          <a:p>
            <a:r>
              <a:rPr sz="1600" dirty="0">
                <a:solidFill>
                  <a:schemeClr val="bg1">
                    <a:lumMod val="65000"/>
                  </a:schemeClr>
                </a:solidFill>
              </a:rPr>
              <a:t>#</a:t>
            </a:r>
            <a:r>
              <a:rPr sz="1600" dirty="0" err="1">
                <a:solidFill>
                  <a:schemeClr val="bg1">
                    <a:lumMod val="65000"/>
                  </a:schemeClr>
                </a:solidFill>
              </a:rPr>
              <a:t>страну_меняют_люди</a:t>
            </a:r>
            <a:endParaRPr sz="16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6000" y="1391675"/>
            <a:ext cx="11520000" cy="15900"/>
          </a:xfrm>
          <a:prstGeom prst="straightConnector1">
            <a:avLst/>
          </a:prstGeom>
          <a:noFill/>
          <a:ln w="9525" cap="flat" cmpd="sng">
            <a:solidFill>
              <a:srgbClr val="00B0F0"/>
            </a:solidFill>
            <a:prstDash val="solid"/>
            <a:round/>
            <a:headEnd type="none" w="sm" len="sm"/>
            <a:tailEnd type="none" w="sm" len="sm"/>
          </a:ln>
        </p:spPr>
      </p:cxn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E68EA474-2D8B-DD2C-E136-F5D37988D8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979573"/>
              </p:ext>
            </p:extLst>
          </p:nvPr>
        </p:nvGraphicFramePr>
        <p:xfrm>
          <a:off x="678612" y="1840707"/>
          <a:ext cx="10834776" cy="38277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57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57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127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987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057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057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104580">
                <a:tc>
                  <a:txBody>
                    <a:bodyPr/>
                    <a:lstStyle/>
                    <a:p>
                      <a:r>
                        <a:rPr lang="ru-RU" sz="1400" b="1" i="0" u="none" strike="noStrike" cap="non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Подготовка и подача </a:t>
                      </a:r>
                      <a:r>
                        <a:rPr lang="ru-RU" sz="1400" b="1" i="0" u="none" strike="noStrike" cap="non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заявок на </a:t>
                      </a:r>
                      <a:r>
                        <a:rPr lang="ru-RU" sz="1400" b="1" i="0" u="none" strike="noStrike" cap="non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Грантовые</a:t>
                      </a:r>
                      <a:r>
                        <a:rPr lang="ru-RU" sz="1400" b="1" i="0" u="none" strike="noStrike" cap="non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Конкурсы </a:t>
                      </a:r>
                      <a:r>
                        <a:rPr lang="ru-RU" sz="1400" b="0" i="0" u="none" strike="noStrike" cap="non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для получения дополнительного финансирования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Подготовка изменений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в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 нормативную базу, </a:t>
                      </a:r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в рамках </a:t>
                      </a:r>
                      <a:r>
                        <a:rPr lang="ru-RU" sz="14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федерального проекта "</a:t>
                      </a:r>
                      <a:r>
                        <a:rPr lang="ru-RU" sz="1400" b="1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Старшее</a:t>
                      </a:r>
                      <a:r>
                        <a:rPr lang="ru-RU" sz="14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 </a:t>
                      </a:r>
                      <a:r>
                        <a:rPr lang="ru-RU" sz="1400" b="1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поколение</a:t>
                      </a:r>
                      <a:r>
                        <a:rPr lang="ru-RU" sz="14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, по предоставлению субсидии на</a:t>
                      </a:r>
                      <a:r>
                        <a:rPr lang="ru-RU" sz="1400" b="0" i="0" u="none" strike="noStrike" cap="non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 приобретение смарт-браслетов, получение субсидии </a:t>
                      </a:r>
                    </a:p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Приобретение смарт-браслетов с готовым программным продуктом</a:t>
                      </a: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1.Подбор пилотной группы среди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</a:rPr>
                        <a:t>благополучателей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 проекта и сотрудников- «наблюдателей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2.Обучение сотрудников и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</a:rPr>
                        <a:t>благополучателей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 пользованию смарт-браслетами</a:t>
                      </a:r>
                    </a:p>
                    <a:p>
                      <a:endParaRPr lang="ru-RU" dirty="0" smtClean="0"/>
                    </a:p>
                    <a:p>
                      <a:endParaRPr lang="ru-RU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Апробация продукта</a:t>
                      </a:r>
                      <a:endParaRPr lang="ru-RU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Анализ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и 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подведение первых результатов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P.S</a:t>
                      </a:r>
                      <a:endParaRPr lang="ru-RU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ru-RU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5875"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 smtClean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август 2022г.  </a:t>
                      </a:r>
                      <a:r>
                        <a:rPr lang="ru-RU" sz="1400" b="0" i="0" u="none" strike="noStrike" cap="none" dirty="0" smtClean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- март </a:t>
                      </a:r>
                      <a:r>
                        <a:rPr lang="ru-RU" sz="1400" b="0" i="0" u="none" strike="noStrike" cap="none" dirty="0" smtClean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2023г.</a:t>
                      </a:r>
                      <a:endParaRPr lang="ru-RU" sz="1400" b="0" i="0" u="none" strike="noStrike" cap="none" dirty="0">
                        <a:solidFill>
                          <a:srgbClr val="000000"/>
                        </a:solidFill>
                        <a:latin typeface="Gilroy Light"/>
                        <a:ea typeface="Gilroy Light"/>
                        <a:cs typeface="Gilroy Light"/>
                        <a:sym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 smtClean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Сентябрь  2022г. </a:t>
                      </a:r>
                      <a:r>
                        <a:rPr lang="ru-RU" sz="1400" b="0" i="0" u="none" strike="noStrike" cap="none" dirty="0" smtClean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– май 2023г. </a:t>
                      </a:r>
                      <a:endParaRPr lang="ru-RU" sz="1400" b="0" i="0" u="none" strike="noStrike" cap="none" dirty="0">
                        <a:solidFill>
                          <a:srgbClr val="000000"/>
                        </a:solidFill>
                        <a:latin typeface="Gilroy Light"/>
                        <a:ea typeface="Gilroy Light"/>
                        <a:cs typeface="Gilroy Light"/>
                        <a:sym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 smtClean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Май</a:t>
                      </a:r>
                      <a:r>
                        <a:rPr lang="ru-RU" sz="1400" b="0" i="0" u="none" strike="noStrike" cap="none" baseline="0" dirty="0" smtClean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 2023г</a:t>
                      </a:r>
                      <a:r>
                        <a:rPr lang="ru-RU" sz="1400" b="0" i="0" u="none" strike="noStrike" cap="none" dirty="0" smtClean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 </a:t>
                      </a:r>
                      <a:endParaRPr lang="ru-RU" sz="1400" b="0" i="0" u="none" strike="noStrike" cap="none" dirty="0">
                        <a:solidFill>
                          <a:srgbClr val="000000"/>
                        </a:solidFill>
                        <a:latin typeface="Gilroy Light"/>
                        <a:ea typeface="Gilroy Light"/>
                        <a:cs typeface="Gilroy Light"/>
                        <a:sym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 smtClean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Июнь – июль 2023г </a:t>
                      </a:r>
                      <a:endParaRPr lang="ru-RU" sz="1400" b="0" i="0" u="none" strike="noStrike" cap="none" dirty="0">
                        <a:solidFill>
                          <a:srgbClr val="000000"/>
                        </a:solidFill>
                        <a:latin typeface="Gilroy Light"/>
                        <a:ea typeface="Gilroy Light"/>
                        <a:cs typeface="Gilroy Light"/>
                        <a:sym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 smtClean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Август- октябрь 2023г. </a:t>
                      </a:r>
                      <a:endParaRPr lang="ru-RU" sz="1400" b="0" i="0" u="none" strike="noStrike" cap="none" dirty="0">
                        <a:solidFill>
                          <a:srgbClr val="000000"/>
                        </a:solidFill>
                        <a:latin typeface="Gilroy Light"/>
                        <a:ea typeface="Gilroy Light"/>
                        <a:cs typeface="Gilroy Light"/>
                        <a:sym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400" b="0" i="0" u="none" strike="noStrike" cap="none" dirty="0" smtClean="0">
                          <a:solidFill>
                            <a:srgbClr val="000000"/>
                          </a:solidFill>
                          <a:latin typeface="Gilroy Light"/>
                          <a:ea typeface="Gilroy Light"/>
                          <a:cs typeface="Gilroy Light"/>
                          <a:sym typeface="Arial"/>
                        </a:rPr>
                        <a:t>Ноябрь 2023 </a:t>
                      </a:r>
                      <a:endParaRPr lang="ru-RU" sz="1400" b="0" i="0" u="none" strike="noStrike" cap="none" dirty="0">
                        <a:solidFill>
                          <a:srgbClr val="000000"/>
                        </a:solidFill>
                        <a:latin typeface="Gilroy Light"/>
                        <a:ea typeface="Gilroy Light"/>
                        <a:cs typeface="Gilroy Light"/>
                        <a:sym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84C86421-A11A-CD21-E24B-AB5A2D9205C5}"/>
              </a:ext>
            </a:extLst>
          </p:cNvPr>
          <p:cNvSpPr txBox="1"/>
          <p:nvPr/>
        </p:nvSpPr>
        <p:spPr>
          <a:xfrm>
            <a:off x="4603630" y="1478438"/>
            <a:ext cx="29847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cap="all" dirty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2022 </a:t>
            </a:r>
            <a:r>
              <a:rPr lang="ru-RU" sz="2400" b="1" cap="all" dirty="0" smtClean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– 2023 </a:t>
            </a:r>
            <a:r>
              <a:rPr lang="ru-RU" sz="2400" b="1" cap="all" dirty="0" err="1" smtClean="0">
                <a:solidFill>
                  <a:srgbClr val="0F64E1"/>
                </a:solidFill>
                <a:latin typeface="Gilroy Light"/>
                <a:ea typeface="Gilroy Light"/>
                <a:cs typeface="Gilroy Light"/>
              </a:rPr>
              <a:t>г.г</a:t>
            </a:r>
            <a:r>
              <a:rPr lang="ru-RU" sz="2400" b="1" cap="all" dirty="0" smtClean="0">
                <a:solidFill>
                  <a:srgbClr val="33A1D8"/>
                </a:solidFill>
                <a:latin typeface="Gilroy Light"/>
                <a:ea typeface="Gilroy Light"/>
                <a:cs typeface="Gilroy Light"/>
              </a:rPr>
              <a:t>.</a:t>
            </a:r>
            <a:endParaRPr lang="ru-RU" sz="2400" b="1" cap="all" dirty="0">
              <a:solidFill>
                <a:srgbClr val="33A1D8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8612" y="5668422"/>
            <a:ext cx="108347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 smtClean="0"/>
              <a:t>В случае получения финансирование раньше запланированных сроков – результативность проекта можно достигнуть максимум через 6 месяцев</a:t>
            </a:r>
            <a:endParaRPr lang="ru-RU" sz="1600" i="1" dirty="0"/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78612" y="5668422"/>
            <a:ext cx="108347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7866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44</TotalTime>
  <Words>851</Words>
  <Application>Microsoft Office PowerPoint</Application>
  <PresentationFormat>Широкоэкранный</PresentationFormat>
  <Paragraphs>137</Paragraphs>
  <Slides>13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0" baseType="lpstr">
      <vt:lpstr>Arial</vt:lpstr>
      <vt:lpstr>Gilroy Light</vt:lpstr>
      <vt:lpstr>PT Sans</vt:lpstr>
      <vt:lpstr>Times New Roman</vt:lpstr>
      <vt:lpstr>Тема Office</vt:lpstr>
      <vt:lpstr>1_Тема Office</vt:lpstr>
      <vt:lpstr>Слайд think-cell</vt:lpstr>
      <vt:lpstr>Вы не одиноки   удалённый контроль витальных показателей пожилых граждан и инвалидов</vt:lpstr>
      <vt:lpstr>Команда проекта </vt:lpstr>
      <vt:lpstr>Проблема</vt:lpstr>
      <vt:lpstr>Цель проекта </vt:lpstr>
      <vt:lpstr>Суть проекта</vt:lpstr>
      <vt:lpstr>Целевая аудитория</vt:lpstr>
      <vt:lpstr>Стейкхолдеры</vt:lpstr>
      <vt:lpstr>Текущая стадия проекта</vt:lpstr>
      <vt:lpstr>План реализации проекта</vt:lpstr>
      <vt:lpstr>Стоимость проекта</vt:lpstr>
      <vt:lpstr>Ресурсное обеспечение</vt:lpstr>
      <vt:lpstr>РИСКИ</vt:lpstr>
      <vt:lpstr>ЗАПРОС НА ПОДДЕРЖКУ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оекта</dc:title>
  <dc:creator>emz.metall@gmail.com</dc:creator>
  <cp:lastModifiedBy>WWW</cp:lastModifiedBy>
  <cp:revision>58</cp:revision>
  <dcterms:created xsi:type="dcterms:W3CDTF">2019-02-20T19:21:15Z</dcterms:created>
  <dcterms:modified xsi:type="dcterms:W3CDTF">2022-06-27T13:10:38Z</dcterms:modified>
</cp:coreProperties>
</file>